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5896CE-64DD-4CD2-99D8-1A5E1F7D5AC5}" v="79" dt="2022-04-28T19:57:31.415"/>
    <p1510:client id="{1FECDCE8-22F4-4942-AAC5-0499380A2D55}" v="5" dt="2022-04-28T20:01:29.546"/>
    <p1510:client id="{20F2D089-3933-C646-337D-328C76A3B127}" v="75" dt="2022-04-28T07:40:08.754"/>
    <p1510:client id="{250C5303-79ED-47C0-AA5D-0B629078A8B3}" v="117" dt="2022-06-20T17:09:54.022"/>
    <p1510:client id="{64BF68F4-85F2-B810-D76C-A58613E4D3EF}" v="3" dt="2022-04-28T07:41:04.565"/>
    <p1510:client id="{8EFFDC87-B738-9913-AC8D-2A1D9F88223B}" v="57" dt="2022-04-28T07:34:01.165"/>
    <p1510:client id="{9B2E616E-8923-45E3-ACA1-EAD7DF6B2279}" v="29" dt="2022-06-20T17:00:30.619"/>
    <p1510:client id="{A461053C-8D42-4965-B9D9-8384E9FA4430}" v="17" dt="2022-06-20T16:37:15.4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341"/>
        <p:guide pos="3659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run Mani, Shrinivas" userId="S::shrinivas.arun-mani@capgemini.com::e40275f4-c0e3-41a1-ae9f-220e10750bc3" providerId="AD" clId="Web-{9B2E616E-8923-45E3-ACA1-EAD7DF6B2279}"/>
    <pc:docChg chg="modSld">
      <pc:chgData name="Arun Mani, Shrinivas" userId="S::shrinivas.arun-mani@capgemini.com::e40275f4-c0e3-41a1-ae9f-220e10750bc3" providerId="AD" clId="Web-{9B2E616E-8923-45E3-ACA1-EAD7DF6B2279}" dt="2022-06-20T17:00:30.619" v="28"/>
      <pc:docMkLst>
        <pc:docMk/>
      </pc:docMkLst>
      <pc:sldChg chg="modSp">
        <pc:chgData name="Arun Mani, Shrinivas" userId="S::shrinivas.arun-mani@capgemini.com::e40275f4-c0e3-41a1-ae9f-220e10750bc3" providerId="AD" clId="Web-{9B2E616E-8923-45E3-ACA1-EAD7DF6B2279}" dt="2022-06-20T17:00:30.619" v="28"/>
        <pc:sldMkLst>
          <pc:docMk/>
          <pc:sldMk cId="0" sldId="560"/>
        </pc:sldMkLst>
        <pc:spChg chg="mod">
          <ac:chgData name="Arun Mani, Shrinivas" userId="S::shrinivas.arun-mani@capgemini.com::e40275f4-c0e3-41a1-ae9f-220e10750bc3" providerId="AD" clId="Web-{9B2E616E-8923-45E3-ACA1-EAD7DF6B2279}" dt="2022-06-20T17:00:30.619" v="28"/>
          <ac:spMkLst>
            <pc:docMk/>
            <pc:sldMk cId="0" sldId="560"/>
            <ac:spMk id="7175" creationId="{BADEA8C0-D1A3-4608-9E63-683339DCC944}"/>
          </ac:spMkLst>
        </pc:spChg>
      </pc:sldChg>
    </pc:docChg>
  </pc:docChgLst>
  <pc:docChgLst>
    <pc:chgData name="Arun Mani, Shrinivas" userId="S::shrinivas.arun-mani@capgemini.com::e40275f4-c0e3-41a1-ae9f-220e10750bc3" providerId="AD" clId="Web-{A461053C-8D42-4965-B9D9-8384E9FA4430}"/>
    <pc:docChg chg="modSld">
      <pc:chgData name="Arun Mani, Shrinivas" userId="S::shrinivas.arun-mani@capgemini.com::e40275f4-c0e3-41a1-ae9f-220e10750bc3" providerId="AD" clId="Web-{A461053C-8D42-4965-B9D9-8384E9FA4430}" dt="2022-06-20T16:37:15.486" v="16" actId="20577"/>
      <pc:docMkLst>
        <pc:docMk/>
      </pc:docMkLst>
      <pc:sldChg chg="addSp delSp modSp">
        <pc:chgData name="Arun Mani, Shrinivas" userId="S::shrinivas.arun-mani@capgemini.com::e40275f4-c0e3-41a1-ae9f-220e10750bc3" providerId="AD" clId="Web-{A461053C-8D42-4965-B9D9-8384E9FA4430}" dt="2022-06-20T16:37:15.486" v="16" actId="20577"/>
        <pc:sldMkLst>
          <pc:docMk/>
          <pc:sldMk cId="0" sldId="560"/>
        </pc:sldMkLst>
        <pc:spChg chg="add del">
          <ac:chgData name="Arun Mani, Shrinivas" userId="S::shrinivas.arun-mani@capgemini.com::e40275f4-c0e3-41a1-ae9f-220e10750bc3" providerId="AD" clId="Web-{A461053C-8D42-4965-B9D9-8384E9FA4430}" dt="2022-06-20T16:30:03.909" v="5"/>
          <ac:spMkLst>
            <pc:docMk/>
            <pc:sldMk cId="0" sldId="560"/>
            <ac:spMk id="2" creationId="{009A5B1A-9796-3B3E-34FD-F23849E1D842}"/>
          </ac:spMkLst>
        </pc:spChg>
        <pc:spChg chg="add">
          <ac:chgData name="Arun Mani, Shrinivas" userId="S::shrinivas.arun-mani@capgemini.com::e40275f4-c0e3-41a1-ae9f-220e10750bc3" providerId="AD" clId="Web-{A461053C-8D42-4965-B9D9-8384E9FA4430}" dt="2022-06-20T16:36:43.954" v="14"/>
          <ac:spMkLst>
            <pc:docMk/>
            <pc:sldMk cId="0" sldId="560"/>
            <ac:spMk id="6" creationId="{7506D717-33EB-D8C5-3403-03F4410D293C}"/>
          </ac:spMkLst>
        </pc:spChg>
        <pc:spChg chg="mod">
          <ac:chgData name="Arun Mani, Shrinivas" userId="S::shrinivas.arun-mani@capgemini.com::e40275f4-c0e3-41a1-ae9f-220e10750bc3" providerId="AD" clId="Web-{A461053C-8D42-4965-B9D9-8384E9FA4430}" dt="2022-06-20T16:37:15.486" v="16" actId="20577"/>
          <ac:spMkLst>
            <pc:docMk/>
            <pc:sldMk cId="0" sldId="560"/>
            <ac:spMk id="7175" creationId="{BADEA8C0-D1A3-4608-9E63-683339DCC944}"/>
          </ac:spMkLst>
        </pc:spChg>
        <pc:spChg chg="mod">
          <ac:chgData name="Arun Mani, Shrinivas" userId="S::shrinivas.arun-mani@capgemini.com::e40275f4-c0e3-41a1-ae9f-220e10750bc3" providerId="AD" clId="Web-{A461053C-8D42-4965-B9D9-8384E9FA4430}" dt="2022-06-20T16:28:57.517" v="1" actId="20577"/>
          <ac:spMkLst>
            <pc:docMk/>
            <pc:sldMk cId="0" sldId="560"/>
            <ac:spMk id="7176" creationId="{943087BE-AA11-4C96-BA02-329B45C19DDE}"/>
          </ac:spMkLst>
        </pc:spChg>
        <pc:picChg chg="add mod">
          <ac:chgData name="Arun Mani, Shrinivas" userId="S::shrinivas.arun-mani@capgemini.com::e40275f4-c0e3-41a1-ae9f-220e10750bc3" providerId="AD" clId="Web-{A461053C-8D42-4965-B9D9-8384E9FA4430}" dt="2022-06-20T16:32:55.759" v="13" actId="1076"/>
          <ac:picMkLst>
            <pc:docMk/>
            <pc:sldMk cId="0" sldId="560"/>
            <ac:picMk id="4" creationId="{68441AF3-F78B-B7CC-29FF-256803DC1E39}"/>
          </ac:picMkLst>
        </pc:picChg>
      </pc:sldChg>
    </pc:docChg>
  </pc:docChgLst>
  <pc:docChgLst>
    <pc:chgData name="Arun Mani, Shrinivas" userId="S::shrinivas.arun-mani@capgemini.com::e40275f4-c0e3-41a1-ae9f-220e10750bc3" providerId="AD" clId="Web-{250C5303-79ED-47C0-AA5D-0B629078A8B3}"/>
    <pc:docChg chg="modSld">
      <pc:chgData name="Arun Mani, Shrinivas" userId="S::shrinivas.arun-mani@capgemini.com::e40275f4-c0e3-41a1-ae9f-220e10750bc3" providerId="AD" clId="Web-{250C5303-79ED-47C0-AA5D-0B629078A8B3}" dt="2022-06-20T17:09:54.022" v="80" actId="20577"/>
      <pc:docMkLst>
        <pc:docMk/>
      </pc:docMkLst>
      <pc:sldChg chg="addSp delSp modSp">
        <pc:chgData name="Arun Mani, Shrinivas" userId="S::shrinivas.arun-mani@capgemini.com::e40275f4-c0e3-41a1-ae9f-220e10750bc3" providerId="AD" clId="Web-{250C5303-79ED-47C0-AA5D-0B629078A8B3}" dt="2022-06-20T17:09:54.022" v="80" actId="20577"/>
        <pc:sldMkLst>
          <pc:docMk/>
          <pc:sldMk cId="0" sldId="560"/>
        </pc:sldMkLst>
        <pc:spChg chg="mod">
          <ac:chgData name="Arun Mani, Shrinivas" userId="S::shrinivas.arun-mani@capgemini.com::e40275f4-c0e3-41a1-ae9f-220e10750bc3" providerId="AD" clId="Web-{250C5303-79ED-47C0-AA5D-0B629078A8B3}" dt="2022-06-20T17:08:14.281" v="59" actId="20577"/>
          <ac:spMkLst>
            <pc:docMk/>
            <pc:sldMk cId="0" sldId="560"/>
            <ac:spMk id="3" creationId="{1AEE8045-9E69-1D7F-3DC9-779FC682E185}"/>
          </ac:spMkLst>
        </pc:spChg>
        <pc:spChg chg="add del mod">
          <ac:chgData name="Arun Mani, Shrinivas" userId="S::shrinivas.arun-mani@capgemini.com::e40275f4-c0e3-41a1-ae9f-220e10750bc3" providerId="AD" clId="Web-{250C5303-79ED-47C0-AA5D-0B629078A8B3}" dt="2022-06-20T17:07:39.404" v="56" actId="1076"/>
          <ac:spMkLst>
            <pc:docMk/>
            <pc:sldMk cId="0" sldId="560"/>
            <ac:spMk id="5" creationId="{DCE5A147-8B8C-D957-61F7-3266F504598B}"/>
          </ac:spMkLst>
        </pc:spChg>
        <pc:spChg chg="mod">
          <ac:chgData name="Arun Mani, Shrinivas" userId="S::shrinivas.arun-mani@capgemini.com::e40275f4-c0e3-41a1-ae9f-220e10750bc3" providerId="AD" clId="Web-{250C5303-79ED-47C0-AA5D-0B629078A8B3}" dt="2022-06-20T17:05:39.615" v="47" actId="20577"/>
          <ac:spMkLst>
            <pc:docMk/>
            <pc:sldMk cId="0" sldId="560"/>
            <ac:spMk id="6" creationId="{7506D717-33EB-D8C5-3403-03F4410D293C}"/>
          </ac:spMkLst>
        </pc:spChg>
        <pc:spChg chg="add del mod">
          <ac:chgData name="Arun Mani, Shrinivas" userId="S::shrinivas.arun-mani@capgemini.com::e40275f4-c0e3-41a1-ae9f-220e10750bc3" providerId="AD" clId="Web-{250C5303-79ED-47C0-AA5D-0B629078A8B3}" dt="2022-06-20T17:07:26.856" v="55"/>
          <ac:spMkLst>
            <pc:docMk/>
            <pc:sldMk cId="0" sldId="560"/>
            <ac:spMk id="8" creationId="{AE142BD8-55C4-DB69-2E0E-BCA6B9C48F8D}"/>
          </ac:spMkLst>
        </pc:spChg>
        <pc:spChg chg="mod">
          <ac:chgData name="Arun Mani, Shrinivas" userId="S::shrinivas.arun-mani@capgemini.com::e40275f4-c0e3-41a1-ae9f-220e10750bc3" providerId="AD" clId="Web-{250C5303-79ED-47C0-AA5D-0B629078A8B3}" dt="2022-06-20T17:07:54.889" v="57" actId="1076"/>
          <ac:spMkLst>
            <pc:docMk/>
            <pc:sldMk cId="0" sldId="560"/>
            <ac:spMk id="7173" creationId="{0DF2099D-8FC2-44CE-AB60-E2C2257CB05D}"/>
          </ac:spMkLst>
        </pc:spChg>
        <pc:spChg chg="mod">
          <ac:chgData name="Arun Mani, Shrinivas" userId="S::shrinivas.arun-mani@capgemini.com::e40275f4-c0e3-41a1-ae9f-220e10750bc3" providerId="AD" clId="Web-{250C5303-79ED-47C0-AA5D-0B629078A8B3}" dt="2022-06-20T17:02:01.725" v="5" actId="14100"/>
          <ac:spMkLst>
            <pc:docMk/>
            <pc:sldMk cId="0" sldId="560"/>
            <ac:spMk id="7175" creationId="{BADEA8C0-D1A3-4608-9E63-683339DCC944}"/>
          </ac:spMkLst>
        </pc:spChg>
        <pc:spChg chg="mod">
          <ac:chgData name="Arun Mani, Shrinivas" userId="S::shrinivas.arun-mani@capgemini.com::e40275f4-c0e3-41a1-ae9f-220e10750bc3" providerId="AD" clId="Web-{250C5303-79ED-47C0-AA5D-0B629078A8B3}" dt="2022-06-20T17:09:54.022" v="80" actId="20577"/>
          <ac:spMkLst>
            <pc:docMk/>
            <pc:sldMk cId="0" sldId="560"/>
            <ac:spMk id="7176" creationId="{943087BE-AA11-4C96-BA02-329B45C19DDE}"/>
          </ac:spMkLst>
        </pc:spChg>
        <pc:picChg chg="mod">
          <ac:chgData name="Arun Mani, Shrinivas" userId="S::shrinivas.arun-mani@capgemini.com::e40275f4-c0e3-41a1-ae9f-220e10750bc3" providerId="AD" clId="Web-{250C5303-79ED-47C0-AA5D-0B629078A8B3}" dt="2022-06-20T17:05:25.332" v="45" actId="1076"/>
          <ac:picMkLst>
            <pc:docMk/>
            <pc:sldMk cId="0" sldId="560"/>
            <ac:picMk id="4" creationId="{68441AF3-F78B-B7CC-29FF-256803DC1E39}"/>
          </ac:picMkLst>
        </pc:picChg>
      </pc:sldChg>
    </pc:docChg>
  </pc:docChgLst>
  <pc:docChgLst>
    <pc:chgData name="Arun Mani, Shrinivas" userId="S::shrinivas.arun-mani@capgemini.com::e40275f4-c0e3-41a1-ae9f-220e10750bc3" providerId="AD" clId="Web-{1FECDCE8-22F4-4942-AAC5-0499380A2D55}"/>
    <pc:docChg chg="modSld">
      <pc:chgData name="Arun Mani, Shrinivas" userId="S::shrinivas.arun-mani@capgemini.com::e40275f4-c0e3-41a1-ae9f-220e10750bc3" providerId="AD" clId="Web-{1FECDCE8-22F4-4942-AAC5-0499380A2D55}" dt="2022-04-28T20:01:29.546" v="3" actId="1076"/>
      <pc:docMkLst>
        <pc:docMk/>
      </pc:docMkLst>
      <pc:sldChg chg="addSp delSp modSp">
        <pc:chgData name="Arun Mani, Shrinivas" userId="S::shrinivas.arun-mani@capgemini.com::e40275f4-c0e3-41a1-ae9f-220e10750bc3" providerId="AD" clId="Web-{1FECDCE8-22F4-4942-AAC5-0499380A2D55}" dt="2022-04-28T20:01:29.546" v="3" actId="1076"/>
        <pc:sldMkLst>
          <pc:docMk/>
          <pc:sldMk cId="0" sldId="560"/>
        </pc:sldMkLst>
        <pc:spChg chg="add del mod">
          <ac:chgData name="Arun Mani, Shrinivas" userId="S::shrinivas.arun-mani@capgemini.com::e40275f4-c0e3-41a1-ae9f-220e10750bc3" providerId="AD" clId="Web-{1FECDCE8-22F4-4942-AAC5-0499380A2D55}" dt="2022-04-28T20:01:19.624" v="1"/>
          <ac:spMkLst>
            <pc:docMk/>
            <pc:sldMk cId="0" sldId="560"/>
            <ac:spMk id="4" creationId="{A5424FCF-D562-FF4D-73A5-7B46C2B2F982}"/>
          </ac:spMkLst>
        </pc:spChg>
        <pc:picChg chg="del">
          <ac:chgData name="Arun Mani, Shrinivas" userId="S::shrinivas.arun-mani@capgemini.com::e40275f4-c0e3-41a1-ae9f-220e10750bc3" providerId="AD" clId="Web-{1FECDCE8-22F4-4942-AAC5-0499380A2D55}" dt="2022-04-28T20:00:37.871" v="0"/>
          <ac:picMkLst>
            <pc:docMk/>
            <pc:sldMk cId="0" sldId="560"/>
            <ac:picMk id="6" creationId="{75CC6AC0-1EF4-44BA-9D86-675E0224A2B5}"/>
          </ac:picMkLst>
        </pc:picChg>
        <pc:picChg chg="add mod ord modCrop">
          <ac:chgData name="Arun Mani, Shrinivas" userId="S::shrinivas.arun-mani@capgemini.com::e40275f4-c0e3-41a1-ae9f-220e10750bc3" providerId="AD" clId="Web-{1FECDCE8-22F4-4942-AAC5-0499380A2D55}" dt="2022-04-28T20:01:29.546" v="3" actId="1076"/>
          <ac:picMkLst>
            <pc:docMk/>
            <pc:sldMk cId="0" sldId="560"/>
            <ac:picMk id="7" creationId="{83F56D43-B835-8364-B220-BD111B0DB24E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0/06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0/06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Insert comments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ck to insert </a:t>
            </a:r>
            <a:r>
              <a:rPr lang="fr-FR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hyperlink" Target="https://github.com/Chaitali0301/ChaitaliResume.git" TargetMode="External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png"/><Relationship Id="rId5" Type="http://schemas.openxmlformats.org/officeDocument/2006/relationships/hyperlink" Target="https://github.com/Chaitali0301/Video" TargetMode="External"/><Relationship Id="rId4" Type="http://schemas.openxmlformats.org/officeDocument/2006/relationships/image" Target="../media/image7.png"/><Relationship Id="rId9" Type="http://schemas.openxmlformats.org/officeDocument/2006/relationships/image" Target="../media/image1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7113" y="2995613"/>
            <a:ext cx="3897195" cy="3621087"/>
          </a:xfrm>
        </p:spPr>
        <p:txBody>
          <a:bodyPr/>
          <a:lstStyle/>
          <a:p>
            <a:pPr algn="just" eaLnBrk="1" hangingPunct="1">
              <a:lnSpc>
                <a:spcPct val="114000"/>
              </a:lnSpc>
            </a:pPr>
            <a:r>
              <a:rPr lang="en-US" altLang="en-US" sz="1050" b="1">
                <a:latin typeface="Arial" panose="020B0604020202020204" pitchFamily="34" charset="0"/>
                <a:cs typeface="Arial" panose="020B0604020202020204" pitchFamily="34" charset="0"/>
              </a:rPr>
              <a:t>1. Leave Management System (LMS) Application</a:t>
            </a:r>
          </a:p>
          <a:p>
            <a:pPr algn="just" eaLnBrk="1" hangingPunct="1">
              <a:lnSpc>
                <a:spcPct val="114000"/>
              </a:lnSpc>
            </a:pPr>
            <a:r>
              <a:rPr lang="en-US" altLang="en-US" sz="1200">
                <a:latin typeface="Arial" panose="020B0604020202020204" pitchFamily="34" charset="0"/>
                <a:cs typeface="Arial" panose="020B0604020202020204" pitchFamily="34" charset="0"/>
              </a:rPr>
              <a:t>Developed the leave management system application on PowerApps using SharePoint list and created a flow between SharePoint, PowerApps and Gmail using Power Automate.</a:t>
            </a:r>
            <a:endParaRPr lang="en-US" altLang="en-US" sz="1200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14000"/>
              </a:lnSpc>
            </a:pPr>
            <a:r>
              <a:rPr lang="en-US" altLang="nl-NL" sz="1050" b="1">
                <a:latin typeface="Arial" panose="020B0604020202020204" pitchFamily="34" charset="0"/>
                <a:cs typeface="Arial" panose="020B0604020202020204" pitchFamily="34" charset="0"/>
              </a:rPr>
              <a:t>2. Completed </a:t>
            </a:r>
            <a:r>
              <a:rPr lang="en-IN" altLang="nl-NL" sz="1050" b="1">
                <a:latin typeface="Arial" panose="020B0604020202020204" pitchFamily="34" charset="0"/>
                <a:cs typeface="Arial" panose="020B0604020202020204" pitchFamily="34" charset="0"/>
              </a:rPr>
              <a:t>Git, GitHub at Capgemini Degreed Platform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050">
                <a:latin typeface="Arial" panose="020B0604020202020204" pitchFamily="34" charset="0"/>
                <a:cs typeface="Arial" panose="020B0604020202020204" pitchFamily="34" charset="0"/>
              </a:rPr>
              <a:t>Learnt the concepts of Git and GitHub, simultaneously applied the concepts for better learning.</a:t>
            </a:r>
          </a:p>
          <a:p>
            <a:pPr algn="just" eaLnBrk="1" hangingPunct="1">
              <a:lnSpc>
                <a:spcPct val="114000"/>
              </a:lnSpc>
            </a:pPr>
            <a:endParaRPr lang="en-IN" altLang="en-US" sz="105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14000"/>
              </a:lnSpc>
            </a:pPr>
            <a:r>
              <a:rPr lang="en-IN" altLang="nl-NL" sz="1400" b="1">
                <a:latin typeface="Arial" panose="020B0604020202020204" pitchFamily="34" charset="0"/>
                <a:cs typeface="Arial" panose="020B0604020202020204" pitchFamily="34" charset="0"/>
              </a:rPr>
              <a:t>POWERAPPS DEVELOPER</a:t>
            </a:r>
            <a:endParaRPr lang="en-US" altLang="nl-NL" sz="1400" b="1"/>
          </a:p>
          <a:p>
            <a:pPr eaLnBrk="1" hangingPunct="1">
              <a:lnSpc>
                <a:spcPct val="114000"/>
              </a:lnSpc>
            </a:pPr>
            <a:endParaRPr lang="en-IN" altLang="en-US"/>
          </a:p>
          <a:p>
            <a:pPr eaLnBrk="1" hangingPunct="1">
              <a:lnSpc>
                <a:spcPct val="114000"/>
              </a:lnSpc>
            </a:pPr>
            <a:endParaRPr lang="en-IN" altLang="en-US"/>
          </a:p>
          <a:p>
            <a:pPr eaLnBrk="1" hangingPunct="1">
              <a:lnSpc>
                <a:spcPct val="114000"/>
              </a:lnSpc>
            </a:pPr>
            <a:endParaRPr lang="en-IN" altLang="en-US"/>
          </a:p>
          <a:p>
            <a:pPr eaLnBrk="1" hangingPunct="1">
              <a:lnSpc>
                <a:spcPct val="114000"/>
              </a:lnSpc>
            </a:pPr>
            <a:endParaRPr lang="en-IN" altLang="en-US"/>
          </a:p>
          <a:p>
            <a:pPr eaLnBrk="1" hangingPunct="1">
              <a:lnSpc>
                <a:spcPct val="114000"/>
              </a:lnSpc>
            </a:pPr>
            <a:endParaRPr lang="en-IN" altLang="en-US"/>
          </a:p>
          <a:p>
            <a:pPr eaLnBrk="1" hangingPunct="1">
              <a:lnSpc>
                <a:spcPct val="114000"/>
              </a:lnSpc>
            </a:pPr>
            <a:endParaRPr lang="en-IN" altLang="en-US"/>
          </a:p>
          <a:p>
            <a:pPr eaLnBrk="1" hangingPunct="1">
              <a:lnSpc>
                <a:spcPct val="114000"/>
              </a:lnSpc>
            </a:pPr>
            <a:endParaRPr lang="en-IN" altLang="en-US"/>
          </a:p>
          <a:p>
            <a:pPr eaLnBrk="1" hangingPunct="1">
              <a:lnSpc>
                <a:spcPct val="114000"/>
              </a:lnSpc>
            </a:pPr>
            <a:endParaRPr lang="en-IN" altLang="en-US"/>
          </a:p>
          <a:p>
            <a:pPr eaLnBrk="1" hangingPunct="1">
              <a:lnSpc>
                <a:spcPct val="114000"/>
              </a:lnSpc>
            </a:pPr>
            <a:endParaRPr lang="en-IN" altLang="en-US"/>
          </a:p>
          <a:p>
            <a:pPr eaLnBrk="1" hangingPunct="1">
              <a:lnSpc>
                <a:spcPct val="114000"/>
              </a:lnSpc>
            </a:pPr>
            <a:endParaRPr lang="en-IN" altLang="en-US"/>
          </a:p>
          <a:p>
            <a:pPr eaLnBrk="1" hangingPunct="1">
              <a:lnSpc>
                <a:spcPct val="114000"/>
              </a:lnSpc>
            </a:pPr>
            <a:endParaRPr lang="en-IN" altLang="en-US"/>
          </a:p>
          <a:p>
            <a:pPr eaLnBrk="1" hangingPunct="1">
              <a:lnSpc>
                <a:spcPct val="114000"/>
              </a:lnSpc>
            </a:pPr>
            <a:endParaRPr lang="en-US" altLang="nl-NL" b="1"/>
          </a:p>
          <a:p>
            <a:pPr eaLnBrk="1" hangingPunct="1">
              <a:lnSpc>
                <a:spcPct val="114000"/>
              </a:lnSpc>
            </a:pPr>
            <a:br>
              <a:rPr lang="en-US" altLang="nl-NL"/>
            </a:br>
            <a:br>
              <a:rPr lang="en-US" altLang="nl-NL"/>
            </a:br>
            <a:endParaRPr lang="nl-NL" altLang="nl-NL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4199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/>
              <a:t>Analyst/Software Engineer</a:t>
            </a:r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42726" y="1564180"/>
            <a:ext cx="3870514" cy="295274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nl-NL" altLang="nl-NL" dirty="0"/>
              <a:t>        Shrinivas.arun-mani@capgemini.com</a:t>
            </a:r>
            <a:endParaRPr lang="nl-NL" dirty="0">
              <a:ea typeface="Verdana"/>
            </a:endParaRP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62931" y="3094870"/>
            <a:ext cx="3888075" cy="2224088"/>
          </a:xfrm>
        </p:spPr>
        <p:txBody>
          <a:bodyPr vert="horz" lIns="0" tIns="0" rIns="0" bIns="0" rtlCol="0" anchor="t">
            <a:no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/>
                <a:cs typeface="Arial"/>
              </a:rPr>
              <a:t>Software Engineer who is Strong in design and integration with intuitive problem-solving skills. Passionate about implementing and launching new projec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/>
                <a:cs typeface="Arial"/>
              </a:rPr>
              <a:t>Hands on experience on development applications of </a:t>
            </a:r>
            <a:r>
              <a:rPr lang="en-US" altLang="en-US" sz="1200" b="1" dirty="0">
                <a:latin typeface="Arial"/>
                <a:cs typeface="Arial"/>
              </a:rPr>
              <a:t>PowerApps using SharePoint &amp; Power Automate. </a:t>
            </a:r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1881" y="568324"/>
            <a:ext cx="2890120" cy="6605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 anchor="t"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>
              <a:lnSpc>
                <a:spcPct val="114000"/>
              </a:lnSpc>
            </a:pPr>
            <a:r>
              <a:rPr lang="en-US" altLang="nl-NL" sz="1000" dirty="0">
                <a:latin typeface="Arial"/>
                <a:cs typeface="Arial"/>
              </a:rPr>
              <a:t>Bachelor Of Civil Engineering: 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latin typeface="Arial"/>
                <a:cs typeface="Arial"/>
              </a:rPr>
              <a:t>2018 - 2021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nl-NL" sz="1000" b="1" dirty="0">
                <a:solidFill>
                  <a:srgbClr val="0070AD"/>
                </a:solidFill>
                <a:latin typeface="Arial"/>
                <a:cs typeface="Arial"/>
              </a:rPr>
              <a:t>Skills</a:t>
            </a:r>
            <a:endParaRPr lang="en-US" altLang="en-US" sz="1000" dirty="0">
              <a:latin typeface="Arial"/>
              <a:cs typeface="Arial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>
                <a:latin typeface="Arial"/>
                <a:cs typeface="Arial"/>
              </a:rPr>
              <a:t>PowerApp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>
                <a:latin typeface="Arial"/>
                <a:cs typeface="Arial"/>
              </a:rPr>
              <a:t>SharePoint</a:t>
            </a:r>
          </a:p>
          <a:p>
            <a:pPr>
              <a:lnSpc>
                <a:spcPct val="113999"/>
              </a:lnSpc>
            </a:pPr>
            <a:r>
              <a:rPr lang="en-US" altLang="en-US" sz="1000" dirty="0">
                <a:latin typeface="Arial"/>
                <a:cs typeface="Arial"/>
              </a:rPr>
              <a:t>Power Automate</a:t>
            </a:r>
          </a:p>
          <a:p>
            <a:pPr>
              <a:lnSpc>
                <a:spcPct val="113999"/>
              </a:lnSpc>
            </a:pPr>
            <a:r>
              <a:rPr lang="en-US" altLang="en-US" sz="1000" dirty="0">
                <a:latin typeface="Arial"/>
                <a:cs typeface="Arial"/>
              </a:rPr>
              <a:t>Power BI Desktop</a:t>
            </a:r>
          </a:p>
          <a:p>
            <a:pPr>
              <a:lnSpc>
                <a:spcPct val="113999"/>
              </a:lnSpc>
            </a:pPr>
            <a:r>
              <a:rPr lang="en-US" altLang="en-US" sz="1000" dirty="0">
                <a:solidFill>
                  <a:srgbClr val="000000"/>
                </a:solidFill>
                <a:latin typeface="Arial"/>
                <a:cs typeface="Arial"/>
              </a:rPr>
              <a:t>Core Java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b="1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err="1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Ons</a:t>
            </a:r>
            <a:endParaRPr lang="en-US" altLang="nl-NL" sz="102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err="1">
                <a:latin typeface="Arial"/>
                <a:cs typeface="Arial"/>
              </a:rPr>
              <a:t>Github</a:t>
            </a:r>
            <a:endParaRPr lang="en-US" altLang="nl-NL" sz="1000">
              <a:latin typeface="Arial"/>
              <a:cs typeface="Arial"/>
            </a:endParaRPr>
          </a:p>
          <a:p>
            <a:pPr>
              <a:lnSpc>
                <a:spcPct val="113999"/>
              </a:lnSpc>
            </a:pPr>
            <a:r>
              <a:rPr lang="en-US" altLang="nl-NL" sz="1000" dirty="0">
                <a:solidFill>
                  <a:srgbClr val="000000"/>
                </a:solidFill>
                <a:latin typeface="Arial"/>
                <a:cs typeface="Arial"/>
              </a:rPr>
              <a:t>Visual Studio Code</a:t>
            </a:r>
            <a:endParaRPr lang="en-US" altLang="nl-NL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4000"/>
              </a:lnSpc>
            </a:pPr>
            <a:endParaRPr lang="en-US" altLang="nl-NL" sz="1020" b="1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  <a:latin typeface="Arial"/>
                <a:cs typeface="Arial"/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latin typeface="Arial"/>
                <a:cs typeface="Arial"/>
              </a:rPr>
              <a:t>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latin typeface="Arial"/>
                <a:cs typeface="Arial"/>
              </a:rPr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/>
          </a:p>
          <a:p>
            <a:pPr eaLnBrk="1" hangingPunct="1">
              <a:lnSpc>
                <a:spcPct val="114000"/>
              </a:lnSpc>
            </a:pPr>
            <a:endParaRPr lang="en-US" altLang="nl-NL" sz="1000"/>
          </a:p>
          <a:p>
            <a:pPr eaLnBrk="1" hangingPunct="1">
              <a:lnSpc>
                <a:spcPct val="114000"/>
              </a:lnSpc>
            </a:pPr>
            <a:endParaRPr lang="en-US" altLang="nl-NL" sz="1000"/>
          </a:p>
          <a:p>
            <a:pPr eaLnBrk="1" hangingPunct="1">
              <a:lnSpc>
                <a:spcPct val="114000"/>
              </a:lnSpc>
            </a:pPr>
            <a:endParaRPr lang="en-US" altLang="nl-NL" sz="1000"/>
          </a:p>
          <a:p>
            <a:pPr eaLnBrk="1" hangingPunct="1">
              <a:lnSpc>
                <a:spcPct val="114000"/>
              </a:lnSpc>
            </a:pPr>
            <a:endParaRPr lang="en-US" altLang="nl-NL" sz="1000"/>
          </a:p>
          <a:p>
            <a:pPr>
              <a:lnSpc>
                <a:spcPct val="114000"/>
              </a:lnSpc>
            </a:pPr>
            <a:endParaRPr lang="en-US" altLang="nl-NL" sz="1000">
              <a:solidFill>
                <a:srgbClr val="FF0000"/>
              </a:solidFill>
              <a:ea typeface="Verdana"/>
            </a:endParaRP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IN" altLang="en-US">
                <a:latin typeface="Arial"/>
                <a:cs typeface="Arial"/>
              </a:rPr>
              <a:t>Shrinivas A Mani</a:t>
            </a:r>
            <a:endParaRPr lang="en-IN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179" name="Picture 7">
            <a:hlinkClick r:id="rId3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4314184" y="6283419"/>
            <a:ext cx="432537" cy="432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1" name="Picture 6" descr="Movie, play, video icon">
            <a:hlinkClick r:id="rId5"/>
            <a:extLst>
              <a:ext uri="{FF2B5EF4-FFF2-40B4-BE49-F238E27FC236}">
                <a16:creationId xmlns:a16="http://schemas.microsoft.com/office/drawing/2014/main" id="{568E79A1-196A-4599-9F1F-AD39B99F1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3690" y="6283419"/>
            <a:ext cx="437805" cy="436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63974" y="1965949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>
                <a:solidFill>
                  <a:schemeClr val="bg1"/>
                </a:solidFill>
              </a:rPr>
              <a:t>A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EE8045-9E69-1D7F-3DC9-779FC682E185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78619" y="1859762"/>
            <a:ext cx="2373312" cy="33025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>
                <a:ea typeface="Verdana"/>
              </a:rPr>
              <a:t>     +91 8329303615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E5A147-8B8C-D957-61F7-3266F504598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54310" y="1343958"/>
            <a:ext cx="2373312" cy="29544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>
                <a:ea typeface="Verdana"/>
              </a:rPr>
              <a:t>Mumbai</a:t>
            </a:r>
          </a:p>
        </p:txBody>
      </p:sp>
      <p:pic>
        <p:nvPicPr>
          <p:cNvPr id="7" name="Picture 7" descr="A picture containing person, indoor, young, posing&#10;&#10;Description automatically generated">
            <a:extLst>
              <a:ext uri="{FF2B5EF4-FFF2-40B4-BE49-F238E27FC236}">
                <a16:creationId xmlns:a16="http://schemas.microsoft.com/office/drawing/2014/main" id="{83F56D43-B835-8364-B220-BD111B0DB24E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 rotWithShape="1">
          <a:blip r:embed="rId7"/>
          <a:srcRect t="11133" b="11133"/>
          <a:stretch/>
        </p:blipFill>
        <p:spPr>
          <a:xfrm>
            <a:off x="353180" y="337623"/>
            <a:ext cx="1734208" cy="1735628"/>
          </a:xfrm>
        </p:spPr>
      </p:pic>
      <p:pic>
        <p:nvPicPr>
          <p:cNvPr id="4" name="Graphic 5" descr="Diploma with solid fill">
            <a:extLst>
              <a:ext uri="{FF2B5EF4-FFF2-40B4-BE49-F238E27FC236}">
                <a16:creationId xmlns:a16="http://schemas.microsoft.com/office/drawing/2014/main" id="{68441AF3-F78B-B7CC-29FF-256803DC1E3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-3629" y="4396014"/>
            <a:ext cx="751115" cy="61504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506D717-33EB-D8C5-3403-03F4410D293C}"/>
              </a:ext>
            </a:extLst>
          </p:cNvPr>
          <p:cNvSpPr txBox="1"/>
          <p:nvPr/>
        </p:nvSpPr>
        <p:spPr>
          <a:xfrm>
            <a:off x="317355" y="4507326"/>
            <a:ext cx="3496126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  </a:t>
            </a:r>
            <a:r>
              <a:rPr lang="en-US" dirty="0">
                <a:solidFill>
                  <a:srgbClr val="000000"/>
                </a:solidFill>
                <a:latin typeface="Verdana"/>
                <a:ea typeface="Verdana"/>
                <a:cs typeface="Arial"/>
              </a:rPr>
              <a:t>  </a:t>
            </a:r>
            <a:r>
              <a:rPr lang="en-US" sz="1200" b="1" dirty="0">
                <a:solidFill>
                  <a:schemeClr val="accent1"/>
                </a:solidFill>
                <a:latin typeface="Arial"/>
                <a:cs typeface="Arial"/>
              </a:rPr>
              <a:t>Coursera Certifications On:</a:t>
            </a:r>
            <a:endParaRPr lang="en-US" dirty="0">
              <a:solidFill>
                <a:schemeClr val="accent1"/>
              </a:solidFill>
              <a:latin typeface="Verdana"/>
              <a:ea typeface="Verdana"/>
              <a:cs typeface="Arial"/>
            </a:endParaRPr>
          </a:p>
          <a:p>
            <a:r>
              <a:rPr lang="en-US" sz="1200" dirty="0">
                <a:solidFill>
                  <a:srgbClr val="000000"/>
                </a:solidFill>
                <a:latin typeface="Arial"/>
                <a:ea typeface="Verdana"/>
                <a:cs typeface="Arial"/>
              </a:rPr>
              <a:t>    </a:t>
            </a:r>
            <a:r>
              <a:rPr lang="en-US" sz="1200" dirty="0">
                <a:latin typeface="Arial"/>
                <a:ea typeface="Verdana"/>
                <a:cs typeface="Arial"/>
              </a:rPr>
              <a:t>   </a:t>
            </a:r>
            <a:endParaRPr lang="en-US" sz="1200" b="1">
              <a:solidFill>
                <a:srgbClr val="0070AD"/>
              </a:solidFill>
              <a:latin typeface="Arial"/>
              <a:ea typeface="Verdana"/>
              <a:cs typeface="Arial"/>
            </a:endParaRPr>
          </a:p>
          <a:p>
            <a:r>
              <a:rPr lang="en-US" sz="1200" dirty="0">
                <a:latin typeface="Arial"/>
                <a:ea typeface="Verdana"/>
                <a:cs typeface="Arial"/>
              </a:rPr>
              <a:t> </a:t>
            </a:r>
            <a:r>
              <a:rPr lang="en-US" sz="1200" b="1" dirty="0">
                <a:latin typeface="Arial"/>
                <a:ea typeface="Verdana"/>
                <a:cs typeface="Arial"/>
              </a:rPr>
              <a:t> 1.</a:t>
            </a:r>
            <a:r>
              <a:rPr lang="en-US" sz="1200" dirty="0">
                <a:latin typeface="Arial"/>
                <a:ea typeface="Verdana"/>
                <a:cs typeface="Arial"/>
              </a:rPr>
              <a:t> </a:t>
            </a:r>
            <a:r>
              <a:rPr lang="en-US" sz="1200" b="1" dirty="0">
                <a:latin typeface="Arial"/>
                <a:ea typeface="Verdana"/>
                <a:cs typeface="Arial"/>
              </a:rPr>
              <a:t>Power BI Desktop.</a:t>
            </a:r>
            <a:endParaRPr lang="en-US" sz="1200" b="1" dirty="0">
              <a:solidFill>
                <a:srgbClr val="0070AD"/>
              </a:solidFill>
              <a:latin typeface="Arial"/>
              <a:ea typeface="Verdana"/>
              <a:cs typeface="Arial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830A5E36C103344AFD0A83E8B43DE37" ma:contentTypeVersion="2" ma:contentTypeDescription="Create a new document." ma:contentTypeScope="" ma:versionID="fb91054739b691d8eb50f8dc1bb45a4e">
  <xsd:schema xmlns:xsd="http://www.w3.org/2001/XMLSchema" xmlns:xs="http://www.w3.org/2001/XMLSchema" xmlns:p="http://schemas.microsoft.com/office/2006/metadata/properties" xmlns:ns2="5d5ff2ad-8f65-4c2b-a74f-83bed9f87d8e" targetNamespace="http://schemas.microsoft.com/office/2006/metadata/properties" ma:root="true" ma:fieldsID="f477d7c06d0971793799608b32beba49" ns2:_="">
    <xsd:import namespace="5d5ff2ad-8f65-4c2b-a74f-83bed9f87d8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5ff2ad-8f65-4c2b-a74f-83bed9f87d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68CEDE10-C5AE-40CE-8DBF-70ED16D76DEB}">
  <ds:schemaRefs>
    <ds:schemaRef ds:uri="5d5ff2ad-8f65-4c2b-a74f-83bed9f87d8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Application>Microsoft Office PowerPoint</Application>
  <PresentationFormat>Widescreen</PresentationFormat>
  <Slides>1</Slides>
  <Notes>1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Capgemini Master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revision>54</cp:revision>
  <dcterms:created xsi:type="dcterms:W3CDTF">2017-12-08T05:27:40Z</dcterms:created>
  <dcterms:modified xsi:type="dcterms:W3CDTF">2022-06-20T17:09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30A5E36C103344AFD0A83E8B43DE37</vt:lpwstr>
  </property>
</Properties>
</file>